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3" r:id="rId5"/>
  </p:sldMasterIdLst>
  <p:notesMasterIdLst>
    <p:notesMasterId r:id="rId21"/>
  </p:notesMasterIdLst>
  <p:sldIdLst>
    <p:sldId id="278" r:id="rId6"/>
    <p:sldId id="302" r:id="rId7"/>
    <p:sldId id="303" r:id="rId8"/>
    <p:sldId id="293" r:id="rId9"/>
    <p:sldId id="294" r:id="rId10"/>
    <p:sldId id="297" r:id="rId11"/>
    <p:sldId id="295" r:id="rId12"/>
    <p:sldId id="296" r:id="rId13"/>
    <p:sldId id="298" r:id="rId14"/>
    <p:sldId id="299" r:id="rId15"/>
    <p:sldId id="300" r:id="rId16"/>
    <p:sldId id="301" r:id="rId17"/>
    <p:sldId id="304" r:id="rId18"/>
    <p:sldId id="305" r:id="rId19"/>
    <p:sldId id="292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64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3658">
          <p15:clr>
            <a:srgbClr val="A4A3A4"/>
          </p15:clr>
        </p15:guide>
        <p15:guide id="5" pos="3840">
          <p15:clr>
            <a:srgbClr val="A4A3A4"/>
          </p15:clr>
        </p15:guide>
        <p15:guide id="6" pos="305">
          <p15:clr>
            <a:srgbClr val="A4A3A4"/>
          </p15:clr>
        </p15:guide>
        <p15:guide id="7" pos="74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2B38"/>
    <a:srgbClr val="63666A"/>
    <a:srgbClr val="D0D0CE"/>
    <a:srgbClr val="B1B3B3"/>
    <a:srgbClr val="888B8D"/>
    <a:srgbClr val="739600"/>
    <a:srgbClr val="F2AA00"/>
    <a:srgbClr val="E87722"/>
    <a:srgbClr val="FFFFFF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79" autoAdjust="0"/>
    <p:restoredTop sz="94727" autoAdjust="0"/>
  </p:normalViewPr>
  <p:slideViewPr>
    <p:cSldViewPr snapToGrid="0">
      <p:cViewPr varScale="1">
        <p:scale>
          <a:sx n="89" d="100"/>
          <a:sy n="89" d="100"/>
        </p:scale>
        <p:origin x="96" y="283"/>
      </p:cViewPr>
      <p:guideLst>
        <p:guide orient="horz" pos="2160"/>
        <p:guide orient="horz" pos="4164"/>
        <p:guide orient="horz" pos="3888"/>
        <p:guide orient="horz" pos="3658"/>
        <p:guide pos="3840"/>
        <p:guide pos="305"/>
        <p:guide pos="74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94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20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264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5307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A4886B7-26B1-4F85-8462-29E9EF265361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28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A37B0-6620-411F-B9F6-135A1B4AE0E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3600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0" y="1118282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2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567D776-C359-44AB-BE9A-49727ED657EB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462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4DD12-C0B7-4EB7-BE19-20A981B87DFA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35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E56CE5-DA97-4927-BDBD-BB321CB1A6C4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846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C240852D-C87A-4826-AD72-9FDBAB24800F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177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A70500ED-450C-4812-8F83-812B349AAA83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117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330414-8BC4-47E7-ADAF-BC3527C08519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682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0" y="9292"/>
            <a:ext cx="11092811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306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20176C1-58B4-4BE5-A82F-114BD71DC6F9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89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EEDF620-679B-4769-9C5B-B18E80351BA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8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28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0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0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0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74AF452C-BC03-40B7-8DAA-3E8642F4C5D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941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4"/>
            <a:ext cx="2077358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398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4"/>
            <a:ext cx="2077358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4"/>
            <a:ext cx="2077358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28E78DE8-D59E-4E52-BD09-B7E010850D30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410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3" y="1826530"/>
            <a:ext cx="2833688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3" y="2971800"/>
            <a:ext cx="1461407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5" y="2971800"/>
            <a:ext cx="1461407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2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5" y="2971800"/>
            <a:ext cx="1461407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8800"/>
            <a:ext cx="2819400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2" y="2971800"/>
            <a:ext cx="1461407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57A362F8-9165-43EA-8BFF-FBFB367753A5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1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3" y="2700789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5" y="2700789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1"/>
            <a:ext cx="2240280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2" y="2700789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2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09" y="2700789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49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89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A6A054C0-152C-418B-A313-EF7115C4C82A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18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6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4" y="3799114"/>
            <a:ext cx="2194563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90337E2-D128-41D4-B77B-D14915750EBB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439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4" y="4624161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4" y="324280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223758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4" y="1861456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84627A7D-9AAD-479A-8AF2-19CA03547998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2915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8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8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2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887905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FB4DE137-510F-4D07-AE4B-9AC472EB83A5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3401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DF5F5DC-57E1-49EA-8A50-93674A218190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46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14313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299" y="1861456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324280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4624161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B96A86B-44F5-40DB-940F-4019FB593A20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532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945380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917405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88943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CE08BB7-C433-4BBD-A3AE-A157C63A63E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897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20046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530961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696209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7910BF9-5C82-48A8-8BC6-FEBEA76D4129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8817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67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2B5A-94AB-40DF-B369-3A482FECDAA3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8186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4602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029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939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29712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0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0" y="0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5421086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6342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7"/>
            <a:ext cx="692317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09" y="2060721"/>
            <a:ext cx="994399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009" y="2122275"/>
            <a:ext cx="5332412" cy="160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638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58013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68"/>
            <a:ext cx="7178221" cy="484632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894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187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097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0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9342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315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22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1C0BFA25-181E-4463-ABC4-6F794643840D}" type="datetime1">
              <a:rPr lang="en-US" smtClean="0"/>
              <a:t>9/28/2021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empower - DO NOT DELETE!!!" hidden="1"/>
          <p:cNvSpPr/>
          <p:nvPr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8" y="6448111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5" hidden="1"/>
          <p:cNvSpPr txBox="1"/>
          <p:nvPr>
            <p:custDataLst>
              <p:tags r:id="rId43"/>
            </p:custDataLst>
          </p:nvPr>
        </p:nvSpPr>
        <p:spPr>
          <a:xfrm rot="20625550">
            <a:off x="193461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7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44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12921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  <p:sldLayoutId id="2147484001" r:id="rId38"/>
    <p:sldLayoutId id="2147484002" r:id="rId39"/>
    <p:sldLayoutId id="2147484003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3816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7440" userDrawn="1">
          <p15:clr>
            <a:srgbClr val="F26B43"/>
          </p15:clr>
        </p15:guide>
        <p15:guide id="76" pos="264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312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pos="3864" userDrawn="1">
          <p15:clr>
            <a:srgbClr val="FDE53C"/>
          </p15:clr>
        </p15:guide>
        <p15:guide id="86" pos="2688" userDrawn="1">
          <p15:clr>
            <a:srgbClr val="F26B43"/>
          </p15:clr>
        </p15:guide>
        <p15:guide id="87" pos="4992" userDrawn="1">
          <p15:clr>
            <a:srgbClr val="F26B43"/>
          </p15:clr>
        </p15:guide>
        <p15:guide id="88" pos="2640" userDrawn="1">
          <p15:clr>
            <a:srgbClr val="F26B43"/>
          </p15:clr>
        </p15:guide>
        <p15:guide id="89" pos="504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Impact Analysis: Inpatient Exclusions in the CDR BE Encounter Groups</a:t>
            </a:r>
            <a:endParaRPr lang="en-US" sz="6000" kern="1400" spc="-5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ris Amendol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ptember 2021</a:t>
            </a:r>
          </a:p>
        </p:txBody>
      </p:sp>
    </p:spTree>
    <p:extLst>
      <p:ext uri="{BB962C8B-B14F-4D97-AF65-F5344CB8AC3E}">
        <p14:creationId xmlns:p14="http://schemas.microsoft.com/office/powerpoint/2010/main" val="3072915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8598-09AE-4224-BBD2-5C87E3F66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053731</a:t>
            </a:r>
          </a:p>
        </p:txBody>
      </p:sp>
      <p:pic>
        <p:nvPicPr>
          <p:cNvPr id="9" name="Content Placeholder 8" descr="Table&#10;&#10;Description automatically generated">
            <a:extLst>
              <a:ext uri="{FF2B5EF4-FFF2-40B4-BE49-F238E27FC236}">
                <a16:creationId xmlns:a16="http://schemas.microsoft.com/office/drawing/2014/main" id="{92E6DBE1-4312-4270-A069-9FC371DAB9B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10407"/>
            <a:ext cx="5676900" cy="4513256"/>
          </a:xfrm>
        </p:spPr>
      </p:pic>
      <p:pic>
        <p:nvPicPr>
          <p:cNvPr id="11" name="Content Placeholder 10" descr="Table&#10;&#10;Description automatically generated">
            <a:extLst>
              <a:ext uri="{FF2B5EF4-FFF2-40B4-BE49-F238E27FC236}">
                <a16:creationId xmlns:a16="http://schemas.microsoft.com/office/drawing/2014/main" id="{56F623ED-153D-4723-BDD2-AD80F77D2F6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026" y="1654631"/>
            <a:ext cx="5906878" cy="4513256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9B5DDA-9C5B-4C54-AC54-B54623597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&amp;B Exclusion Working as Intended %Zero-Day Stay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5480A5-4D74-4629-B579-03EC15EBFF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67E4E1-4DC6-4909-96FE-11B09A9C86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2843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2C006-DEB5-4ECF-9771-09311D608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053731</a:t>
            </a:r>
          </a:p>
        </p:txBody>
      </p:sp>
      <p:pic>
        <p:nvPicPr>
          <p:cNvPr id="9" name="Content Placeholder 8" descr="Chart&#10;&#10;Description automatically generated">
            <a:extLst>
              <a:ext uri="{FF2B5EF4-FFF2-40B4-BE49-F238E27FC236}">
                <a16:creationId xmlns:a16="http://schemas.microsoft.com/office/drawing/2014/main" id="{50B63F72-A60C-406C-B36B-6CB0808C53E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28" y="1654631"/>
            <a:ext cx="5304983" cy="4250869"/>
          </a:xfrm>
        </p:spPr>
      </p:pic>
      <p:pic>
        <p:nvPicPr>
          <p:cNvPr id="11" name="Content Placeholder 10" descr="Chart, bar chart&#10;&#10;Description automatically generated">
            <a:extLst>
              <a:ext uri="{FF2B5EF4-FFF2-40B4-BE49-F238E27FC236}">
                <a16:creationId xmlns:a16="http://schemas.microsoft.com/office/drawing/2014/main" id="{E20D2EEB-73F2-40CF-A69C-8778E51FDFD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1654631"/>
            <a:ext cx="5456634" cy="4250869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7C2AA2-C6F9-43FB-95B7-22DED16462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clusion Greatly reduces % Zero Day Stay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D9D60E-F370-4262-86D2-1B3D19B2B6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866C9-123F-4A9C-9497-72D6576FC8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660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2166B-57CF-4BC9-B99E-77A77565C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053731</a:t>
            </a:r>
          </a:p>
        </p:txBody>
      </p:sp>
      <p:pic>
        <p:nvPicPr>
          <p:cNvPr id="9" name="Content Placeholder 8" descr="Table&#10;&#10;Description automatically generated">
            <a:extLst>
              <a:ext uri="{FF2B5EF4-FFF2-40B4-BE49-F238E27FC236}">
                <a16:creationId xmlns:a16="http://schemas.microsoft.com/office/drawing/2014/main" id="{C241F988-7817-4E8E-8D60-5B75096DF9C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10407"/>
            <a:ext cx="5733378" cy="4413875"/>
          </a:xfrm>
        </p:spPr>
      </p:pic>
      <p:pic>
        <p:nvPicPr>
          <p:cNvPr id="11" name="Content Placeholder 10" descr="Table&#10;&#10;Description automatically generated">
            <a:extLst>
              <a:ext uri="{FF2B5EF4-FFF2-40B4-BE49-F238E27FC236}">
                <a16:creationId xmlns:a16="http://schemas.microsoft.com/office/drawing/2014/main" id="{A7841899-1003-4226-A309-6BD359AD809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610408"/>
            <a:ext cx="5813425" cy="436999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D83183-ADF1-45BC-85F1-8359F359C5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LOS appears typical</a:t>
            </a: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82384D-5F12-4DB1-B822-242B5F406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49035-CBCE-4532-AB57-40B61901D9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746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52C71-42A9-41F8-8611-A5FBC571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Snapshot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1DD47D-8BD3-4190-BF52-2AA8D7E61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+ Day Stays Unaffected (1 of 2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095053-EE27-413E-BB51-E9F4E65AD1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23303-59CD-4E4C-B26E-B0D602B429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7" name="Content Placeholder 16" descr="Teams&#10;&#10;Description automatically generated with low confidence">
            <a:extLst>
              <a:ext uri="{FF2B5EF4-FFF2-40B4-BE49-F238E27FC236}">
                <a16:creationId xmlns:a16="http://schemas.microsoft.com/office/drawing/2014/main" id="{D431A853-E738-4B8C-8CF2-C59D86E9DC1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54631"/>
            <a:ext cx="5524500" cy="1958135"/>
          </a:xfrm>
        </p:spPr>
      </p:pic>
      <p:pic>
        <p:nvPicPr>
          <p:cNvPr id="19" name="Content Placeholder 18" descr="A picture containing diagram&#10;&#10;Description automatically generated">
            <a:extLst>
              <a:ext uri="{FF2B5EF4-FFF2-40B4-BE49-F238E27FC236}">
                <a16:creationId xmlns:a16="http://schemas.microsoft.com/office/drawing/2014/main" id="{30FD1FB5-DEE2-456E-97C3-05AB6557A36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2" y="1610407"/>
            <a:ext cx="5661025" cy="2083768"/>
          </a:xfrm>
        </p:spPr>
      </p:pic>
      <p:pic>
        <p:nvPicPr>
          <p:cNvPr id="21" name="Picture 20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A08F339E-C739-4B2E-AAE7-51AB9F7124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892" y="3656990"/>
            <a:ext cx="5336907" cy="2082727"/>
          </a:xfrm>
          <a:prstGeom prst="rect">
            <a:avLst/>
          </a:prstGeom>
        </p:spPr>
      </p:pic>
      <p:pic>
        <p:nvPicPr>
          <p:cNvPr id="23" name="Picture 22" descr="A picture containing bar chart&#10;&#10;Description automatically generated">
            <a:extLst>
              <a:ext uri="{FF2B5EF4-FFF2-40B4-BE49-F238E27FC236}">
                <a16:creationId xmlns:a16="http://schemas.microsoft.com/office/drawing/2014/main" id="{C75A6D95-5749-46AC-A0BA-31C5E7C6E6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2" y="3740991"/>
            <a:ext cx="5661025" cy="199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538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3A33F-4731-48D8-90AA-777388883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Snapshot </a:t>
            </a:r>
          </a:p>
        </p:txBody>
      </p:sp>
      <p:pic>
        <p:nvPicPr>
          <p:cNvPr id="9" name="Content Placeholder 8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2919BA6F-B357-418B-83C5-4C4D545C7D1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2753800"/>
            <a:ext cx="5524500" cy="2223525"/>
          </a:xfrm>
        </p:spPr>
      </p:pic>
      <p:pic>
        <p:nvPicPr>
          <p:cNvPr id="11" name="Content Placeholder 10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7ED4B53E-08D0-4271-A7BB-7ED3D893FD4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876327"/>
            <a:ext cx="5661025" cy="197847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FD7EE9-777E-4D34-AD42-45AC38C1A8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+ Day Stays Unaffected (2 of 2)</a:t>
            </a: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D11F8F-A463-43E9-8A49-BE258EB05D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CACE49-85FD-485F-8A8E-E025D499EA7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068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4046642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BA3330-0CB6-4420-8AA3-9577883AC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: Analysis of Inpatient Exclusions for Non-R&amp;B Encounter Grou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04793E-E39E-4783-B60D-54EC768FA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lients</a:t>
            </a:r>
          </a:p>
          <a:p>
            <a:pPr marL="573088" lvl="1" indent="-342900"/>
            <a:r>
              <a:rPr lang="en-US" dirty="0"/>
              <a:t>H641171</a:t>
            </a:r>
          </a:p>
          <a:p>
            <a:pPr marL="573088" lvl="1" indent="-342900"/>
            <a:r>
              <a:rPr lang="en-US" dirty="0"/>
              <a:t>H406239</a:t>
            </a:r>
          </a:p>
          <a:p>
            <a:pPr marL="573088" lvl="1" indent="-342900"/>
            <a:r>
              <a:rPr lang="en-US" dirty="0"/>
              <a:t>H05373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etrics</a:t>
            </a:r>
          </a:p>
          <a:p>
            <a:pPr marL="573088" lvl="1" indent="-342900"/>
            <a:r>
              <a:rPr lang="en-US" dirty="0"/>
              <a:t>Production Vs. Simulation of ‘Excluded’ Encounters</a:t>
            </a:r>
          </a:p>
          <a:p>
            <a:pPr marL="573088" lvl="1" indent="-342900"/>
            <a:r>
              <a:rPr lang="en-US" dirty="0"/>
              <a:t>For Years 2018-2021</a:t>
            </a:r>
          </a:p>
          <a:p>
            <a:pPr marL="573088" lvl="1" indent="-342900"/>
            <a:r>
              <a:rPr lang="en-US" dirty="0"/>
              <a:t>% Zero-Day Stays</a:t>
            </a:r>
          </a:p>
          <a:p>
            <a:pPr marL="573088" lvl="1" indent="-342900"/>
            <a:r>
              <a:rPr lang="en-US" dirty="0"/>
              <a:t>Visualization of Distribution of Frequency of Stay Days</a:t>
            </a:r>
          </a:p>
          <a:p>
            <a:pPr marL="573088" lvl="1" indent="-342900"/>
            <a:r>
              <a:rPr lang="en-US" dirty="0"/>
              <a:t>Average Length of stay</a:t>
            </a:r>
          </a:p>
          <a:p>
            <a:pPr marL="573088" lvl="1" indent="-34290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8B4BAB-0C34-4449-A8F3-5206C2E5D3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lected Clients, Key Metrics</a:t>
            </a:r>
          </a:p>
        </p:txBody>
      </p:sp>
    </p:spTree>
    <p:extLst>
      <p:ext uri="{BB962C8B-B14F-4D97-AF65-F5344CB8AC3E}">
        <p14:creationId xmlns:p14="http://schemas.microsoft.com/office/powerpoint/2010/main" val="4273571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C5F12-6AD4-41CB-9069-7CDEA18D7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: Analysis of Inpatient Exclusions for Non-R&amp;B Encounter Grou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3875-E8BC-4182-BF43-A72BBF1A8D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d on L1_CLIAMs</a:t>
            </a:r>
          </a:p>
          <a:p>
            <a:pPr lvl="1"/>
            <a:r>
              <a:rPr lang="en-US" dirty="0"/>
              <a:t>Determine R&amp;B Status for encounters with claims</a:t>
            </a:r>
          </a:p>
          <a:p>
            <a:pPr lvl="1"/>
            <a:r>
              <a:rPr lang="en-US" dirty="0"/>
              <a:t>Simple Boolean </a:t>
            </a:r>
          </a:p>
          <a:p>
            <a:pPr lvl="1"/>
            <a:r>
              <a:rPr lang="en-US" dirty="0"/>
              <a:t>Encounter ‘has’ R&amp;B, with one or more supporting claims with R&amp;B code</a:t>
            </a:r>
          </a:p>
          <a:p>
            <a:pPr>
              <a:buNone/>
            </a:pPr>
            <a:r>
              <a:rPr lang="en-US" dirty="0"/>
              <a:t>Identify Events with Zero Stay Days, and no R&amp;B encounters</a:t>
            </a:r>
          </a:p>
          <a:p>
            <a:pPr>
              <a:buNone/>
            </a:pPr>
            <a:r>
              <a:rPr lang="en-US" dirty="0"/>
              <a:t>Filter these events from calculation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246C4D-6E9F-4C68-9210-E1EFE7D06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scription of Exclusions logic for Simulation Dat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B3BD1A-9DF9-4F9E-A3C6-3B9D04B02C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0D39A8-AA83-4824-ABAF-FDA371E592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79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DA98845-7A4A-4E54-A87D-92910665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641171</a:t>
            </a:r>
          </a:p>
        </p:txBody>
      </p:sp>
      <p:pic>
        <p:nvPicPr>
          <p:cNvPr id="10" name="Content Placeholder 9" descr="Table&#10;&#10;Description automatically generated">
            <a:extLst>
              <a:ext uri="{FF2B5EF4-FFF2-40B4-BE49-F238E27FC236}">
                <a16:creationId xmlns:a16="http://schemas.microsoft.com/office/drawing/2014/main" id="{0DEE7687-CB52-497D-B04C-C18AF3752EE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54631"/>
            <a:ext cx="5524500" cy="4470124"/>
          </a:xfrm>
        </p:spPr>
      </p:pic>
      <p:pic>
        <p:nvPicPr>
          <p:cNvPr id="12" name="Content Placeholder 11" descr="Table&#10;&#10;Description automatically generated">
            <a:extLst>
              <a:ext uri="{FF2B5EF4-FFF2-40B4-BE49-F238E27FC236}">
                <a16:creationId xmlns:a16="http://schemas.microsoft.com/office/drawing/2014/main" id="{E2B08B72-BA91-498D-B727-1874CB9512A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737" y="1719329"/>
            <a:ext cx="5967263" cy="4405426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5A5E66-7D5B-4433-8162-97A78CB815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clusion Greatly reduces % Zero Day Stays – still slightly high.</a:t>
            </a:r>
          </a:p>
        </p:txBody>
      </p:sp>
    </p:spTree>
    <p:extLst>
      <p:ext uri="{BB962C8B-B14F-4D97-AF65-F5344CB8AC3E}">
        <p14:creationId xmlns:p14="http://schemas.microsoft.com/office/powerpoint/2010/main" val="559311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818A7-D035-4D4C-9244-7D62E4A56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641171</a:t>
            </a:r>
          </a:p>
        </p:txBody>
      </p:sp>
      <p:pic>
        <p:nvPicPr>
          <p:cNvPr id="9" name="Content Placeholder 8" descr="Chart, bar chart&#10;&#10;Description automatically generated">
            <a:extLst>
              <a:ext uri="{FF2B5EF4-FFF2-40B4-BE49-F238E27FC236}">
                <a16:creationId xmlns:a16="http://schemas.microsoft.com/office/drawing/2014/main" id="{FCAAB715-9FA2-4F36-B977-69B06EBC902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28" y="1825625"/>
            <a:ext cx="5210093" cy="4622486"/>
          </a:xfrm>
        </p:spPr>
      </p:pic>
      <p:pic>
        <p:nvPicPr>
          <p:cNvPr id="11" name="Content Placeholder 10" descr="Chart, bar chart&#10;&#10;Description automatically generated">
            <a:extLst>
              <a:ext uri="{FF2B5EF4-FFF2-40B4-BE49-F238E27FC236}">
                <a16:creationId xmlns:a16="http://schemas.microsoft.com/office/drawing/2014/main" id="{8FD16D31-2030-445D-B30F-694173877C1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30" y="1825625"/>
            <a:ext cx="5736828" cy="4589463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2161E-C6E2-4446-8A50-E397CFA9D7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clusion Greatly reduces % Zero Day Stays – still slightly high.</a:t>
            </a: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28586D-4BAA-4DE3-8FB1-361E197E41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75CCD4-EEB2-40A9-BB49-FFC0FEF85C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602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E31EFA-EA5E-480B-ADE9-B7DF3F29E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641171</a:t>
            </a:r>
          </a:p>
        </p:txBody>
      </p:sp>
      <p:pic>
        <p:nvPicPr>
          <p:cNvPr id="9" name="Content Placeholder 8" descr="Table&#10;&#10;Description automatically generated">
            <a:extLst>
              <a:ext uri="{FF2B5EF4-FFF2-40B4-BE49-F238E27FC236}">
                <a16:creationId xmlns:a16="http://schemas.microsoft.com/office/drawing/2014/main" id="{9593B131-EAC0-446F-B82B-429878D75DA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99" y="1654631"/>
            <a:ext cx="5690347" cy="4223359"/>
          </a:xfrm>
        </p:spPr>
      </p:pic>
      <p:pic>
        <p:nvPicPr>
          <p:cNvPr id="11" name="Content Placeholder 10" descr="Table&#10;&#10;Description automatically generated">
            <a:extLst>
              <a:ext uri="{FF2B5EF4-FFF2-40B4-BE49-F238E27FC236}">
                <a16:creationId xmlns:a16="http://schemas.microsoft.com/office/drawing/2014/main" id="{58AFEBF2-5B9B-4475-97AF-157C40DD6AF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192" y="1654631"/>
            <a:ext cx="5938034" cy="442344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2A7A84-26AB-4A03-B36C-72680552B4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verage Length of Stay – expected range </a:t>
            </a:r>
            <a:r>
              <a:rPr lang="en-US" dirty="0" err="1"/>
              <a:t>acheived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22D7B4-AA3C-47AD-A289-416FF41043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18503A-CF42-4E5D-B894-D116E1DCF1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4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3D8C7-F8E7-4302-BEE6-F69BF5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406239</a:t>
            </a:r>
          </a:p>
        </p:txBody>
      </p:sp>
      <p:pic>
        <p:nvPicPr>
          <p:cNvPr id="9" name="Content Placeholder 8" descr="Table&#10;&#10;Description automatically generated">
            <a:extLst>
              <a:ext uri="{FF2B5EF4-FFF2-40B4-BE49-F238E27FC236}">
                <a16:creationId xmlns:a16="http://schemas.microsoft.com/office/drawing/2014/main" id="{D17BA42C-0D13-49CD-A032-A7FB07BF9FC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54630"/>
            <a:ext cx="5600700" cy="4455713"/>
          </a:xfrm>
        </p:spPr>
      </p:pic>
      <p:pic>
        <p:nvPicPr>
          <p:cNvPr id="11" name="Content Placeholder 10" descr="Table&#10;&#10;Description automatically generated">
            <a:extLst>
              <a:ext uri="{FF2B5EF4-FFF2-40B4-BE49-F238E27FC236}">
                <a16:creationId xmlns:a16="http://schemas.microsoft.com/office/drawing/2014/main" id="{2801AE84-4404-44F2-BEFF-285035DAF7C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654631"/>
            <a:ext cx="5813427" cy="445571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0B8F1F-D507-4A62-A724-AD6496B0A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ssion Accomplishe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6E28CD-8145-4257-ACC1-52C2ECF2BC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12715E-D2FC-485D-8787-02CC6B0414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708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CF169-403F-4F31-8000-33D85099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406239</a:t>
            </a:r>
          </a:p>
        </p:txBody>
      </p:sp>
      <p:pic>
        <p:nvPicPr>
          <p:cNvPr id="9" name="Content Placeholder 8" descr="Chart, bar chart&#10;&#10;Description automatically generated">
            <a:extLst>
              <a:ext uri="{FF2B5EF4-FFF2-40B4-BE49-F238E27FC236}">
                <a16:creationId xmlns:a16="http://schemas.microsoft.com/office/drawing/2014/main" id="{BE86E11E-0B52-4DE8-97BD-14FC44AF7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28" y="1825625"/>
            <a:ext cx="5099843" cy="4221492"/>
          </a:xfrm>
        </p:spPr>
      </p:pic>
      <p:pic>
        <p:nvPicPr>
          <p:cNvPr id="13" name="Content Placeholder 12" descr="Chart, bar chart&#10;&#10;Description automatically generated">
            <a:extLst>
              <a:ext uri="{FF2B5EF4-FFF2-40B4-BE49-F238E27FC236}">
                <a16:creationId xmlns:a16="http://schemas.microsoft.com/office/drawing/2014/main" id="{A7A02ED6-E873-431B-810E-D65FD902137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1825625"/>
            <a:ext cx="5456634" cy="422149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520FF2-DEB9-4784-8A30-ED77F62F1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ssion Accomplishe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77EE51-956D-4EF4-A21E-EA8C953A24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E721EB-57E4-4389-9877-0B7A68E32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864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AE909-5DDF-4E28-A2C1-A8C4C7B4A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406239</a:t>
            </a:r>
          </a:p>
        </p:txBody>
      </p:sp>
      <p:pic>
        <p:nvPicPr>
          <p:cNvPr id="9" name="Content Placeholder 8" descr="Table&#10;&#10;Description automatically generated">
            <a:extLst>
              <a:ext uri="{FF2B5EF4-FFF2-40B4-BE49-F238E27FC236}">
                <a16:creationId xmlns:a16="http://schemas.microsoft.com/office/drawing/2014/main" id="{F429A733-4DAE-47F8-86C7-36CBFF213D0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654631"/>
            <a:ext cx="5733378" cy="4444955"/>
          </a:xfrm>
        </p:spPr>
      </p:pic>
      <p:pic>
        <p:nvPicPr>
          <p:cNvPr id="11" name="Content Placeholder 10" descr="Table&#10;&#10;Description automatically generated">
            <a:extLst>
              <a:ext uri="{FF2B5EF4-FFF2-40B4-BE49-F238E27FC236}">
                <a16:creationId xmlns:a16="http://schemas.microsoft.com/office/drawing/2014/main" id="{923642F4-EF87-4127-B2B2-D4B73EEBD5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654631"/>
            <a:ext cx="5813425" cy="4541774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2736D0-1796-48BD-8CA4-AE491C7FD7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LOS appears typica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B1434C-D5BF-4318-85BD-940F2AB1A0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D61A74-EF93-4C33-8C3F-F49BF32E9B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661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LOGOPLACEHOLDER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heme/theme1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50" ma:contentTypeDescription="Create a new document." ma:contentTypeScope="" ma:versionID="0ca5597bff7b8ccccc692ec8f20f6c1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DDC56A-FB06-4CC7-94CC-9C67E94304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65AEAF-400B-4863-AC0E-10A4B37169A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0AFFE3F-CA0C-4FC8-BB79-CE7BC8FEA6C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8AF90AF-F6BD-441C-A324-51B1E90749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8299</TotalTime>
  <Words>526</Words>
  <Application>Microsoft Office PowerPoint</Application>
  <PresentationFormat>Widescreen</PresentationFormat>
  <Paragraphs>68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Calibri Light</vt:lpstr>
      <vt:lpstr>Default Theme</vt:lpstr>
      <vt:lpstr>Impact Analysis: Inpatient Exclusions in the CDR BE Encounter Groups</vt:lpstr>
      <vt:lpstr>Impact: Analysis of Inpatient Exclusions for Non-R&amp;B Encounter Groups</vt:lpstr>
      <vt:lpstr>Impact: Analysis of Inpatient Exclusions for Non-R&amp;B Encounter Groups</vt:lpstr>
      <vt:lpstr>H641171</vt:lpstr>
      <vt:lpstr>H641171</vt:lpstr>
      <vt:lpstr>H641171</vt:lpstr>
      <vt:lpstr>H406239</vt:lpstr>
      <vt:lpstr>H406239</vt:lpstr>
      <vt:lpstr>H406239</vt:lpstr>
      <vt:lpstr>H053731</vt:lpstr>
      <vt:lpstr>H053731</vt:lpstr>
      <vt:lpstr>H053731</vt:lpstr>
      <vt:lpstr>Quick Snapshot </vt:lpstr>
      <vt:lpstr>Quick Snapshot </vt:lpstr>
      <vt:lpstr>PowerPoint Presentation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Bartholomew</dc:creator>
  <cp:lastModifiedBy>Amendola, Christopher A</cp:lastModifiedBy>
  <cp:revision>139</cp:revision>
  <dcterms:created xsi:type="dcterms:W3CDTF">2019-06-11T18:23:50Z</dcterms:created>
  <dcterms:modified xsi:type="dcterms:W3CDTF">2021-09-28T16:0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